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notesSlides/notesSlide1.xml" ContentType="application/vnd.openxmlformats-officedocument.presentationml.notesSlid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699" r:id="rId5"/>
    <p:sldId id="3676" r:id="rId6"/>
    <p:sldId id="3683" r:id="rId7"/>
    <p:sldId id="3701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21" autoAdjust="0"/>
  </p:normalViewPr>
  <p:slideViewPr>
    <p:cSldViewPr snapToGrid="0" snapToObjects="1">
      <p:cViewPr varScale="1">
        <p:scale>
          <a:sx n="114" d="100"/>
          <a:sy n="114" d="100"/>
        </p:scale>
        <p:origin x="47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3 Jan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3 Jan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4885" y="4073768"/>
            <a:ext cx="5632704" cy="47511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344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4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6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0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40450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49315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2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271.xml"/><Relationship Id="rId7" Type="http://schemas.openxmlformats.org/officeDocument/2006/relationships/tags" Target="../tags/tag275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74.xml"/><Relationship Id="rId5" Type="http://schemas.openxmlformats.org/officeDocument/2006/relationships/tags" Target="../tags/tag273.xml"/><Relationship Id="rId10" Type="http://schemas.openxmlformats.org/officeDocument/2006/relationships/image" Target="../media/image4.emf"/><Relationship Id="rId4" Type="http://schemas.openxmlformats.org/officeDocument/2006/relationships/tags" Target="../tags/tag272.xml"/><Relationship Id="rId9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77.xml"/><Relationship Id="rId7" Type="http://schemas.openxmlformats.org/officeDocument/2006/relationships/oleObject" Target="../embeddings/oleObject19.bin"/><Relationship Id="rId2" Type="http://schemas.openxmlformats.org/officeDocument/2006/relationships/tags" Target="../tags/tag276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79.xml"/><Relationship Id="rId4" Type="http://schemas.openxmlformats.org/officeDocument/2006/relationships/tags" Target="../tags/tag27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281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84.xml"/><Relationship Id="rId5" Type="http://schemas.openxmlformats.org/officeDocument/2006/relationships/tags" Target="../tags/tag283.xml"/><Relationship Id="rId10" Type="http://schemas.openxmlformats.org/officeDocument/2006/relationships/slide" Target="slide6.xml"/><Relationship Id="rId4" Type="http://schemas.openxmlformats.org/officeDocument/2006/relationships/tags" Target="../tags/tag282.xml"/><Relationship Id="rId9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89.xml"/><Relationship Id="rId11" Type="http://schemas.openxmlformats.org/officeDocument/2006/relationships/image" Target="../media/image8.emf"/><Relationship Id="rId5" Type="http://schemas.openxmlformats.org/officeDocument/2006/relationships/tags" Target="../tags/tag288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287.xml"/><Relationship Id="rId9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292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95.xml"/><Relationship Id="rId5" Type="http://schemas.openxmlformats.org/officeDocument/2006/relationships/tags" Target="../tags/tag294.xml"/><Relationship Id="rId4" Type="http://schemas.openxmlformats.org/officeDocument/2006/relationships/tags" Target="../tags/tag293.xml"/><Relationship Id="rId9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29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23.v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10" Type="http://schemas.openxmlformats.org/officeDocument/2006/relationships/slide" Target="slide3.xml"/><Relationship Id="rId4" Type="http://schemas.openxmlformats.org/officeDocument/2006/relationships/tags" Target="../tags/tag298.xml"/><Relationship Id="rId9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12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5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Advanced </a:t>
            </a:r>
            <a:r>
              <a:rPr lang="en-US"/>
              <a:t>File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3879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99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Executive summary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774159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506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0" name="think-cell Slide" r:id="rId8" imgW="423" imgH="424" progId="TCLayout.ActiveDocument.1">
                  <p:embed/>
                </p:oleObj>
              </mc:Choice>
              <mc:Fallback>
                <p:oleObj name="think-cell Slide" r:id="rId8" imgW="423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BCD2A298-8503-461D-810E-EF5D7644B38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D814BC-E94F-47C8-B303-D453446E41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AB2B6DE-B65F-4AD9-BACF-05469A0CE26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978400" y="1706563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/>
              <a:t>NFS store</a:t>
            </a:r>
            <a:endParaRPr lang="en-US" b="1" dirty="0"/>
          </a:p>
        </p:txBody>
      </p:sp>
      <p:sp>
        <p:nvSpPr>
          <p:cNvPr id="7" name="Text Placeholder 2">
            <a:hlinkClick r:id="rId10" action="ppaction://hlinksldjump"/>
            <a:extLst>
              <a:ext uri="{FF2B5EF4-FFF2-40B4-BE49-F238E27FC236}">
                <a16:creationId xmlns:a16="http://schemas.microsoft.com/office/drawing/2014/main" id="{66ACC66A-7D15-4717-B80B-71DF2F92BBE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978400" y="2112963"/>
            <a:ext cx="6661150" cy="652463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/>
              <a:t>Brach Cache</a:t>
            </a:r>
          </a:p>
          <a:p>
            <a:pPr>
              <a:spcBef>
                <a:spcPct val="0"/>
              </a:spcBef>
              <a:spcAft>
                <a:spcPct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82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C966CF71-87FE-4484-9F34-7849F2C385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748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3" name="think-cell Slide" r:id="rId10" imgW="423" imgH="424" progId="TCLayout.ActiveDocument.1">
                  <p:embed/>
                </p:oleObj>
              </mc:Choice>
              <mc:Fallback>
                <p:oleObj name="think-cell Slide" r:id="rId10" imgW="423" imgH="42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C966CF71-87FE-4484-9F34-7849F2C38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FCD0AEF6-0F3B-4D93-BE58-C441F73F09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9112DCFD-8BAC-47D4-A950-EC6847E659B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Titles are now recommended to be one line, never more than two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90461DA4-18EC-4241-B90E-DE2350ABA63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Subtitles can be used to expand on the title or add context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CCFDEC12-1835-4F0C-BA72-61E5D6B31D32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/>
              <a:t>Chapter › Topic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2A88728-73A6-4FD3-8035-55A36342DE4A}"/>
              </a:ext>
            </a:extLst>
          </p:cNvPr>
          <p:cNvSpPr txBox="1">
            <a:spLocks/>
          </p:cNvSpPr>
          <p:nvPr/>
        </p:nvSpPr>
        <p:spPr>
          <a:xfrm>
            <a:off x="554736" y="2174750"/>
            <a:ext cx="3465576" cy="403396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is basic layout with 3-5 columns. </a:t>
            </a:r>
          </a:p>
          <a:p>
            <a:r>
              <a:rPr lang="en-US" dirty="0"/>
              <a:t>For 6 or more items, display in rows.</a:t>
            </a:r>
          </a:p>
          <a:p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8CE578C-475B-4F32-A62E-E289A155AE0B}"/>
              </a:ext>
            </a:extLst>
          </p:cNvPr>
          <p:cNvSpPr txBox="1">
            <a:spLocks/>
          </p:cNvSpPr>
          <p:nvPr/>
        </p:nvSpPr>
        <p:spPr>
          <a:xfrm>
            <a:off x="4361688" y="2174750"/>
            <a:ext cx="3465576" cy="403396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White, Black, and Deep Blue as core colors, supported by Cyan and Electric Blue.</a:t>
            </a:r>
          </a:p>
          <a:p>
            <a:r>
              <a:rPr lang="en-US" dirty="0"/>
              <a:t>Use Georgia Bold for titles, big statements, and large factoids. Use Arial for all other body copy.</a:t>
            </a:r>
          </a:p>
          <a:p>
            <a:r>
              <a:rPr lang="en-US" dirty="0"/>
              <a:t>Give adequate space between columns, graphics, and other slide elements to create hierarchy and make your page easier to navigate.</a:t>
            </a:r>
          </a:p>
          <a:p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7367EE0-4A69-41BF-B715-03290F200E14}"/>
              </a:ext>
            </a:extLst>
          </p:cNvPr>
          <p:cNvSpPr txBox="1">
            <a:spLocks/>
          </p:cNvSpPr>
          <p:nvPr/>
        </p:nvSpPr>
        <p:spPr>
          <a:xfrm>
            <a:off x="8174736" y="2183168"/>
            <a:ext cx="3465576" cy="403396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Avoid cluttering pages with too many bullets. We’ve increased paragraph spacing to help separate list items.</a:t>
            </a:r>
          </a:p>
          <a:p>
            <a:r>
              <a:rPr lang="en-US" dirty="0"/>
              <a:t>Instead of enclosing text in boxes and other shapes, use alignment and white space to organize your content.</a:t>
            </a:r>
          </a:p>
        </p:txBody>
      </p:sp>
      <p:sp>
        <p:nvSpPr>
          <p:cNvPr id="12" name="5. Source">
            <a:extLst>
              <a:ext uri="{FF2B5EF4-FFF2-40B4-BE49-F238E27FC236}">
                <a16:creationId xmlns:a16="http://schemas.microsoft.com/office/drawing/2014/main" id="{A443F129-A264-419A-A3F9-2B25BEF869E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680674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2" hidden="1">
            <a:extLst>
              <a:ext uri="{FF2B5EF4-FFF2-40B4-BE49-F238E27FC236}">
                <a16:creationId xmlns:a16="http://schemas.microsoft.com/office/drawing/2014/main" id="{3F6C7EEB-71D7-4762-82AA-52C0693C4B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836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88"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11" name="Object 2" hidden="1">
                        <a:extLst>
                          <a:ext uri="{FF2B5EF4-FFF2-40B4-BE49-F238E27FC236}">
                            <a16:creationId xmlns:a16="http://schemas.microsoft.com/office/drawing/2014/main" id="{3F6C7EEB-71D7-4762-82AA-52C0693C4B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EE4D469-DC2A-4DE4-96CD-B4970E92A5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530F9DD-0EF5-45E5-99F2-6C05802E630F}"/>
              </a:ext>
            </a:extLst>
          </p:cNvPr>
          <p:cNvSpPr txBox="1">
            <a:spLocks/>
          </p:cNvSpPr>
          <p:nvPr/>
        </p:nvSpPr>
        <p:spPr>
          <a:xfrm>
            <a:off x="630410" y="2174750"/>
            <a:ext cx="3163824" cy="403396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our new basic, impact, and dual master layouts to add pacing, rhythm and visual interest to your presentation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B2EEAE3-7A4C-4DCC-A454-471005B2B963}"/>
              </a:ext>
            </a:extLst>
          </p:cNvPr>
          <p:cNvSpPr txBox="1">
            <a:spLocks/>
          </p:cNvSpPr>
          <p:nvPr/>
        </p:nvSpPr>
        <p:spPr>
          <a:xfrm>
            <a:off x="4434314" y="2174750"/>
            <a:ext cx="3163824" cy="403396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o select an alternate layout for a slide, right click the slide thumbnail and select “Layout” in the menu.</a:t>
            </a: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A69F083D-0341-4A3B-B542-1257D561F1B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Dual layout titles should fit on one side</a:t>
            </a:r>
          </a:p>
        </p:txBody>
      </p:sp>
      <p:sp>
        <p:nvSpPr>
          <p:cNvPr id="4" name="3. Subtitle">
            <a:extLst>
              <a:ext uri="{FF2B5EF4-FFF2-40B4-BE49-F238E27FC236}">
                <a16:creationId xmlns:a16="http://schemas.microsoft.com/office/drawing/2014/main" id="{B1CD577F-FD86-42E1-B555-AB72CE82A2D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59B1D0-DA7F-4013-8CFE-7CE33B40B9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C3B9A6-A2AB-48AC-AE93-CD00CC42C05A}"/>
              </a:ext>
            </a:extLst>
          </p:cNvPr>
          <p:cNvSpPr txBox="1">
            <a:spLocks/>
          </p:cNvSpPr>
          <p:nvPr/>
        </p:nvSpPr>
        <p:spPr>
          <a:xfrm>
            <a:off x="8473440" y="2170383"/>
            <a:ext cx="3163824" cy="403396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Add text here.</a:t>
            </a:r>
          </a:p>
        </p:txBody>
      </p:sp>
      <p:sp>
        <p:nvSpPr>
          <p:cNvPr id="12" name="5. Source">
            <a:extLst>
              <a:ext uri="{FF2B5EF4-FFF2-40B4-BE49-F238E27FC236}">
                <a16:creationId xmlns:a16="http://schemas.microsoft.com/office/drawing/2014/main" id="{28B51B76-4432-4333-A40A-BCBAC8C601E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98923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562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8" imgW="423" imgH="424" progId="TCLayout.ActiveDocument.1">
                  <p:embed/>
                </p:oleObj>
              </mc:Choice>
              <mc:Fallback>
                <p:oleObj name="think-cell Slide" r:id="rId8" imgW="423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BCD2A298-8503-461D-810E-EF5D7644B38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D814BC-E94F-47C8-B303-D453446E41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hlinkClick r:id="rId10" action="ppaction://hlinksldjump"/>
            <a:extLst>
              <a:ext uri="{FF2B5EF4-FFF2-40B4-BE49-F238E27FC236}">
                <a16:creationId xmlns:a16="http://schemas.microsoft.com/office/drawing/2014/main" id="{5AB2B6DE-B65F-4AD9-BACF-05469A0CE26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978400" y="1706563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/>
              <a:t>NFS store</a:t>
            </a:r>
            <a:endParaRPr lang="en-US" b="1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346A18F-7F42-4206-9B03-C9D4AEF8A81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978400" y="2112963"/>
            <a:ext cx="6661150" cy="652463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/>
              <a:t>Brach Cache</a:t>
            </a:r>
          </a:p>
          <a:p>
            <a:pPr>
              <a:spcBef>
                <a:spcPct val="0"/>
              </a:spcBef>
              <a:spcAft>
                <a:spcPct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341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08-06 08:53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G.Nan_h2BhijW1ZjvRd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VH1hVNxj6jKGvgg32v4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IKt9NGQxql.w4d85RBZ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_lMrsPRGyi.CmLvokGr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G.Nan_h2BhijW1ZjvR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CDc7FRYeDEXOb38z96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6592001C-CD0C-492B-A46D-8B4EF9FAD56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</TotalTime>
  <Words>336</Words>
  <Application>Microsoft Office PowerPoint</Application>
  <PresentationFormat>Widescreen</PresentationFormat>
  <Paragraphs>38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Advanced File Services</vt:lpstr>
      <vt:lpstr>Executive summary</vt:lpstr>
      <vt:lpstr>Agenda</vt:lpstr>
      <vt:lpstr>Titles are now recommended to be one line, never more than two</vt:lpstr>
      <vt:lpstr>Dual layout titles should fit on one side</vt:lpstr>
      <vt:lpstr>Agen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ed File Services</dc:title>
  <dc:subject/>
  <dc:creator>Lam Nguyen</dc:creator>
  <cp:keywords/>
  <dc:description/>
  <cp:lastModifiedBy>Lam Nguyen</cp:lastModifiedBy>
  <cp:revision>2</cp:revision>
  <cp:lastPrinted>2018-10-30T20:37:12Z</cp:lastPrinted>
  <dcterms:created xsi:type="dcterms:W3CDTF">2020-12-03T15:48:52Z</dcterms:created>
  <dcterms:modified xsi:type="dcterms:W3CDTF">2021-01-23T14:29:2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8-06 08:53 PM</vt:lpwstr>
  </property>
  <property fmtid="{D5CDD505-2E9C-101B-9397-08002B2CF9AE}" pid="8" name="TemplateCreated">
    <vt:lpwstr>2019-02-27 01:18 PM</vt:lpwstr>
  </property>
</Properties>
</file>